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6.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7.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8.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0.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62" r:id="rId9"/>
    <p:sldMasterId id="2147483884" r:id="rId10"/>
    <p:sldMasterId id="2147483908" r:id="rId11"/>
    <p:sldMasterId id="2147483964" r:id="rId12"/>
    <p:sldMasterId id="2147483986" r:id="rId13"/>
    <p:sldMasterId id="2147483998" r:id="rId14"/>
    <p:sldMasterId id="2147484010" r:id="rId15"/>
    <p:sldMasterId id="2147484032" r:id="rId16"/>
    <p:sldMasterId id="2147484064" r:id="rId17"/>
    <p:sldMasterId id="2147484083" r:id="rId18"/>
    <p:sldMasterId id="2147484102" r:id="rId19"/>
    <p:sldMasterId id="2147484126" r:id="rId20"/>
    <p:sldMasterId id="2147484151" r:id="rId21"/>
  </p:sldMasterIdLst>
  <p:notesMasterIdLst>
    <p:notesMasterId r:id="rId85"/>
  </p:notesMasterIdLst>
  <p:sldIdLst>
    <p:sldId id="271" r:id="rId22"/>
    <p:sldId id="388" r:id="rId23"/>
    <p:sldId id="537" r:id="rId24"/>
    <p:sldId id="433" r:id="rId25"/>
    <p:sldId id="532" r:id="rId26"/>
    <p:sldId id="541" r:id="rId27"/>
    <p:sldId id="542" r:id="rId28"/>
    <p:sldId id="543" r:id="rId29"/>
    <p:sldId id="437" r:id="rId30"/>
    <p:sldId id="438" r:id="rId31"/>
    <p:sldId id="477" r:id="rId32"/>
    <p:sldId id="478" r:id="rId33"/>
    <p:sldId id="525" r:id="rId34"/>
    <p:sldId id="526" r:id="rId35"/>
    <p:sldId id="527" r:id="rId36"/>
    <p:sldId id="480" r:id="rId37"/>
    <p:sldId id="483" r:id="rId38"/>
    <p:sldId id="484" r:id="rId39"/>
    <p:sldId id="487" r:id="rId40"/>
    <p:sldId id="440" r:id="rId41"/>
    <p:sldId id="441" r:id="rId42"/>
    <p:sldId id="442" r:id="rId43"/>
    <p:sldId id="443" r:id="rId44"/>
    <p:sldId id="558" r:id="rId45"/>
    <p:sldId id="557" r:id="rId46"/>
    <p:sldId id="545" r:id="rId47"/>
    <p:sldId id="547" r:id="rId48"/>
    <p:sldId id="548" r:id="rId49"/>
    <p:sldId id="549" r:id="rId50"/>
    <p:sldId id="561" r:id="rId51"/>
    <p:sldId id="562" r:id="rId52"/>
    <p:sldId id="556" r:id="rId53"/>
    <p:sldId id="509" r:id="rId54"/>
    <p:sldId id="517" r:id="rId55"/>
    <p:sldId id="446" r:id="rId56"/>
    <p:sldId id="447" r:id="rId57"/>
    <p:sldId id="490" r:id="rId58"/>
    <p:sldId id="521" r:id="rId59"/>
    <p:sldId id="522" r:id="rId60"/>
    <p:sldId id="449" r:id="rId61"/>
    <p:sldId id="450" r:id="rId62"/>
    <p:sldId id="451" r:id="rId63"/>
    <p:sldId id="503" r:id="rId64"/>
    <p:sldId id="452" r:id="rId65"/>
    <p:sldId id="429" r:id="rId66"/>
    <p:sldId id="430" r:id="rId67"/>
    <p:sldId id="431" r:id="rId68"/>
    <p:sldId id="432" r:id="rId69"/>
    <p:sldId id="504" r:id="rId70"/>
    <p:sldId id="492" r:id="rId71"/>
    <p:sldId id="501" r:id="rId72"/>
    <p:sldId id="493" r:id="rId73"/>
    <p:sldId id="494" r:id="rId74"/>
    <p:sldId id="495" r:id="rId75"/>
    <p:sldId id="496" r:id="rId76"/>
    <p:sldId id="497" r:id="rId77"/>
    <p:sldId id="498" r:id="rId78"/>
    <p:sldId id="499" r:id="rId79"/>
    <p:sldId id="529" r:id="rId80"/>
    <p:sldId id="502" r:id="rId81"/>
    <p:sldId id="455" r:id="rId82"/>
    <p:sldId id="555" r:id="rId83"/>
    <p:sldId id="563" r:id="rId84"/>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11B7B4-EC2B-4D6C-8C50-A56B8ED656D9}" v="15" dt="2018-06-22T14:34:09.0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12" autoAdjust="0"/>
    <p:restoredTop sz="78751" autoAdjust="0"/>
  </p:normalViewPr>
  <p:slideViewPr>
    <p:cSldViewPr snapToGrid="0">
      <p:cViewPr varScale="1">
        <p:scale>
          <a:sx n="67" d="100"/>
          <a:sy n="67" d="100"/>
        </p:scale>
        <p:origin x="428" y="48"/>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slide" Target="slides/slide63.xml"/><Relationship Id="rId89"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0.xml"/><Relationship Id="rId92"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slide" Target="slides/slide61.xml"/><Relationship Id="rId90"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Hansford" userId="15e953f4-fecf-498e-8d2c-110d3661edc4" providerId="ADAL" clId="{B411B7B4-EC2B-4D6C-8C50-A56B8ED656D9}"/>
    <pc:docChg chg="custSel modSld">
      <pc:chgData name="David Hansford" userId="15e953f4-fecf-498e-8d2c-110d3661edc4" providerId="ADAL" clId="{B411B7B4-EC2B-4D6C-8C50-A56B8ED656D9}" dt="2018-06-22T14:34:09.080" v="11" actId="478"/>
      <pc:docMkLst>
        <pc:docMk/>
      </pc:docMkLst>
      <pc:sldChg chg="modSp">
        <pc:chgData name="David Hansford" userId="15e953f4-fecf-498e-8d2c-110d3661edc4" providerId="ADAL" clId="{B411B7B4-EC2B-4D6C-8C50-A56B8ED656D9}" dt="2018-06-22T14:09:09.107" v="9" actId="20577"/>
        <pc:sldMkLst>
          <pc:docMk/>
          <pc:sldMk cId="3576018908" sldId="447"/>
        </pc:sldMkLst>
        <pc:spChg chg="mod">
          <ac:chgData name="David Hansford" userId="15e953f4-fecf-498e-8d2c-110d3661edc4" providerId="ADAL" clId="{B411B7B4-EC2B-4D6C-8C50-A56B8ED656D9}" dt="2018-06-22T14:09:09.107" v="9" actId="20577"/>
          <ac:spMkLst>
            <pc:docMk/>
            <pc:sldMk cId="3576018908" sldId="447"/>
            <ac:spMk id="5" creationId="{00000000-0000-0000-0000-000000000000}"/>
          </ac:spMkLst>
        </pc:spChg>
      </pc:sldChg>
      <pc:sldChg chg="modTransition">
        <pc:chgData name="David Hansford" userId="15e953f4-fecf-498e-8d2c-110d3661edc4" providerId="ADAL" clId="{B411B7B4-EC2B-4D6C-8C50-A56B8ED656D9}" dt="2018-06-22T14:33:45.940" v="10"/>
        <pc:sldMkLst>
          <pc:docMk/>
          <pc:sldMk cId="3733974223" sldId="555"/>
        </pc:sldMkLst>
      </pc:sldChg>
      <pc:sldChg chg="addSp delSp modSp">
        <pc:chgData name="David Hansford" userId="15e953f4-fecf-498e-8d2c-110d3661edc4" providerId="ADAL" clId="{B411B7B4-EC2B-4D6C-8C50-A56B8ED656D9}" dt="2018-06-22T14:34:09.080" v="11" actId="478"/>
        <pc:sldMkLst>
          <pc:docMk/>
          <pc:sldMk cId="66238701" sldId="563"/>
        </pc:sldMkLst>
        <pc:spChg chg="del">
          <ac:chgData name="David Hansford" userId="15e953f4-fecf-498e-8d2c-110d3661edc4" providerId="ADAL" clId="{B411B7B4-EC2B-4D6C-8C50-A56B8ED656D9}" dt="2018-06-22T14:34:09.080" v="11" actId="478"/>
          <ac:spMkLst>
            <pc:docMk/>
            <pc:sldMk cId="66238701" sldId="563"/>
            <ac:spMk id="4" creationId="{00000000-0000-0000-0000-000000000000}"/>
          </ac:spMkLst>
        </pc:spChg>
        <pc:spChg chg="add mod">
          <ac:chgData name="David Hansford" userId="15e953f4-fecf-498e-8d2c-110d3661edc4" providerId="ADAL" clId="{B411B7B4-EC2B-4D6C-8C50-A56B8ED656D9}" dt="2018-06-22T14:34:09.080" v="11" actId="478"/>
          <ac:spMkLst>
            <pc:docMk/>
            <pc:sldMk cId="66238701" sldId="563"/>
            <ac:spMk id="5" creationId="{571C7E61-98A8-49B1-B355-42180A928E18}"/>
          </ac:spMkLst>
        </pc:spChg>
      </pc:sldChg>
    </pc:docChg>
  </pc:docChgLst>
  <pc:docChgLst>
    <pc:chgData name="David Hansford" userId="15e953f4-fecf-498e-8d2c-110d3661edc4" providerId="ADAL" clId="{3641F1AA-48DB-40D7-A480-1EA4DAA1272F}"/>
    <pc:docChg chg="delSld modSld delMainMaster">
      <pc:chgData name="David Hansford" userId="15e953f4-fecf-498e-8d2c-110d3661edc4" providerId="ADAL" clId="{3641F1AA-48DB-40D7-A480-1EA4DAA1272F}" dt="2018-06-18T19:47:12.243" v="36" actId="20577"/>
      <pc:docMkLst>
        <pc:docMk/>
      </pc:docMkLst>
      <pc:sldChg chg="modSp">
        <pc:chgData name="David Hansford" userId="15e953f4-fecf-498e-8d2c-110d3661edc4" providerId="ADAL" clId="{3641F1AA-48DB-40D7-A480-1EA4DAA1272F}" dt="2018-06-18T19:47:12.243" v="36" actId="20577"/>
        <pc:sldMkLst>
          <pc:docMk/>
          <pc:sldMk cId="1665733023" sldId="271"/>
        </pc:sldMkLst>
        <pc:spChg chg="mod">
          <ac:chgData name="David Hansford" userId="15e953f4-fecf-498e-8d2c-110d3661edc4" providerId="ADAL" clId="{3641F1AA-48DB-40D7-A480-1EA4DAA1272F}" dt="2018-06-18T19:47:12.243" v="36" actId="20577"/>
          <ac:spMkLst>
            <pc:docMk/>
            <pc:sldMk cId="1665733023" sldId="271"/>
            <ac:spMk id="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F0F35F-DD44-4607-AEC1-49D7A4BC406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7758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2/2018 9:3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2/2018 9:3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2/2018 9:3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2/2018 9:33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3</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2/2018 9:3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5</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2/2018 9:3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2/2018 9:3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2/2018 9:3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2/2018 9:33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5</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2/2018 9:33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6</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2/2018 9:33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40</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1</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2</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2/2018 9:3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2/2018 9:33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4</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4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2/2018 9:3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1</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F0F35F-DD44-4607-AEC1-49D7A4BC406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2015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2/2018 9:3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2/2018 9:33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0</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5.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5.xml"/><Relationship Id="rId4" Type="http://schemas.openxmlformats.org/officeDocument/2006/relationships/image" Target="../media/image23.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6.xml"/><Relationship Id="rId5" Type="http://schemas.openxmlformats.org/officeDocument/2006/relationships/image" Target="../media/image31.png"/><Relationship Id="rId4" Type="http://schemas.microsoft.com/office/2007/relationships/hdphoto" Target="../media/hdphoto1.wdp"/></Relationships>
</file>

<file path=ppt/slideLayouts/_rels/slideLayout2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7.xml"/><Relationship Id="rId4" Type="http://schemas.microsoft.com/office/2007/relationships/hdphoto" Target="../media/hdphoto3.wdp"/></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7.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8.xml"/><Relationship Id="rId5" Type="http://schemas.microsoft.com/office/2007/relationships/hdphoto" Target="../media/hdphoto3.wdp"/><Relationship Id="rId4" Type="http://schemas.openxmlformats.org/officeDocument/2006/relationships/image" Target="../media/image39.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61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2/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2/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2/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7"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3"/>
            <a:ext cx="8579887"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614395866"/>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2943521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30919481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4157848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0105659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183030518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225817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8305907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5133670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5" y="117610"/>
            <a:ext cx="1760418"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7209359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8385438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0212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369046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698765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16026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425693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1018564"/>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1018564"/>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44888454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11634430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5192608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47494183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716023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0377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224540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96930046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6/22/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82155873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201592" y="152925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5911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Exam-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5"/>
            <a:ext cx="8117840" cy="800207"/>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3" name="Rectangle 2"/>
          <p:cNvSpPr/>
          <p:nvPr userDrawn="1"/>
        </p:nvSpPr>
        <p:spPr>
          <a:xfrm>
            <a:off x="268080" y="286313"/>
            <a:ext cx="2390398" cy="71558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405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906855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image" Target="../media/image4.emf"/><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theme" Target="../theme/theme1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theme" Target="../theme/theme11.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theme" Target="../theme/theme13.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14.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21" Type="http://schemas.openxmlformats.org/officeDocument/2006/relationships/theme" Target="../theme/theme15.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image" Target="../media/image19.png"/><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image" Target="../media/image18.png"/><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image" Target="../media/image1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image" Target="../media/image28.png"/><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theme" Target="../theme/theme16.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10" Type="http://schemas.openxmlformats.org/officeDocument/2006/relationships/slideLayout" Target="../slideLayouts/slideLayout320.xml"/><Relationship Id="rId19" Type="http://schemas.openxmlformats.org/officeDocument/2006/relationships/theme" Target="../theme/theme17.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10" Type="http://schemas.openxmlformats.org/officeDocument/2006/relationships/slideLayout" Target="../slideLayouts/slideLayout338.xml"/><Relationship Id="rId19" Type="http://schemas.openxmlformats.org/officeDocument/2006/relationships/theme" Target="../theme/theme1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image" Target="../media/image4.emf"/><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21" Type="http://schemas.openxmlformats.org/officeDocument/2006/relationships/theme" Target="../theme/theme2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image" Target="../media/image28.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26" Type="http://schemas.openxmlformats.org/officeDocument/2006/relationships/slideLayout" Target="../slideLayouts/slideLayout413.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5" Type="http://schemas.openxmlformats.org/officeDocument/2006/relationships/slideLayout" Target="../slideLayouts/slideLayout412.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24" Type="http://schemas.openxmlformats.org/officeDocument/2006/relationships/slideLayout" Target="../slideLayouts/slideLayout411.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slideLayout" Target="../slideLayouts/slideLayout410.xml"/><Relationship Id="rId28" Type="http://schemas.openxmlformats.org/officeDocument/2006/relationships/theme" Target="../theme/theme21.xml"/><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slideLayout" Target="../slideLayouts/slideLayout409.xml"/><Relationship Id="rId27" Type="http://schemas.openxmlformats.org/officeDocument/2006/relationships/slideLayout" Target="../slideLayouts/slideLayout4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6.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2/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2/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2/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2.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2/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2.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3059769838"/>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 id="2147484176" r:id="rId25"/>
    <p:sldLayoutId id="2147484177" r:id="rId26"/>
    <p:sldLayoutId id="2147484178" r:id="rId27"/>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2/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4150" r:id="rId20"/>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2/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8.xml"/></Relationships>
</file>

<file path=ppt/slides/_rels/slide1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7.xml"/><Relationship Id="rId1" Type="http://schemas.openxmlformats.org/officeDocument/2006/relationships/slideLayout" Target="../slideLayouts/slideLayout113.xml"/><Relationship Id="rId5" Type="http://schemas.openxmlformats.org/officeDocument/2006/relationships/image" Target="../media/image57.png"/><Relationship Id="rId4" Type="http://schemas.openxmlformats.org/officeDocument/2006/relationships/image" Target="../media/image56.emf"/></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8.png"/><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0.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0.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200.xml"/></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61.jpeg"/></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103.xml"/></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64.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5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218.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8.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1.xml"/><Relationship Id="rId1" Type="http://schemas.openxmlformats.org/officeDocument/2006/relationships/slideLayout" Target="../slideLayouts/slideLayout1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218.xml"/><Relationship Id="rId5" Type="http://schemas.openxmlformats.org/officeDocument/2006/relationships/image" Target="../media/image47.png"/><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90.xml"/><Relationship Id="rId1" Type="http://schemas.openxmlformats.org/officeDocument/2006/relationships/tags" Target="../tags/tag5.xml"/><Relationship Id="rId5" Type="http://schemas.openxmlformats.org/officeDocument/2006/relationships/image" Target="../media/image72.emf"/><Relationship Id="rId4" Type="http://schemas.openxmlformats.org/officeDocument/2006/relationships/image" Target="../media/image71.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0.xml"/></Relationships>
</file>

<file path=ppt/slides/_rels/slide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xml"/><Relationship Id="rId1" Type="http://schemas.openxmlformats.org/officeDocument/2006/relationships/slideLayout" Target="../slideLayouts/slideLayout103.xml"/></Relationships>
</file>

<file path=ppt/slides/_rels/slide4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image" Target="../media/image73.emf"/><Relationship Id="rId7" Type="http://schemas.openxmlformats.org/officeDocument/2006/relationships/image" Target="../media/image77.emf"/><Relationship Id="rId2" Type="http://schemas.openxmlformats.org/officeDocument/2006/relationships/notesSlide" Target="../notesSlides/notesSlide36.xml"/><Relationship Id="rId1" Type="http://schemas.openxmlformats.org/officeDocument/2006/relationships/slideLayout" Target="../slideLayouts/slideLayout107.xml"/><Relationship Id="rId6" Type="http://schemas.openxmlformats.org/officeDocument/2006/relationships/image" Target="../media/image76.emf"/><Relationship Id="rId5" Type="http://schemas.openxmlformats.org/officeDocument/2006/relationships/image" Target="../media/image75.png"/><Relationship Id="rId4" Type="http://schemas.openxmlformats.org/officeDocument/2006/relationships/image" Target="../media/image74.emf"/><Relationship Id="rId9" Type="http://schemas.openxmlformats.org/officeDocument/2006/relationships/image" Target="../media/image7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15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40.xml"/><Relationship Id="rId1" Type="http://schemas.openxmlformats.org/officeDocument/2006/relationships/slideLayout" Target="../slideLayouts/slideLayout107.xml"/><Relationship Id="rId5" Type="http://schemas.openxmlformats.org/officeDocument/2006/relationships/image" Target="../media/image82.emf"/><Relationship Id="rId4" Type="http://schemas.openxmlformats.org/officeDocument/2006/relationships/image" Target="../media/image81.emf"/></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45.xml"/><Relationship Id="rId1" Type="http://schemas.openxmlformats.org/officeDocument/2006/relationships/slideLayout" Target="../slideLayouts/slideLayout15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51.png"/><Relationship Id="rId4" Type="http://schemas.openxmlformats.org/officeDocument/2006/relationships/hyperlink" Target="https://github.com/azure/azure-quickstart-templates"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46.xml"/><Relationship Id="rId1" Type="http://schemas.openxmlformats.org/officeDocument/2006/relationships/slideLayout" Target="../slideLayouts/slideLayout142.xml"/><Relationship Id="rId5" Type="http://schemas.openxmlformats.org/officeDocument/2006/relationships/image" Target="../media/image89.emf"/><Relationship Id="rId4" Type="http://schemas.openxmlformats.org/officeDocument/2006/relationships/image" Target="../media/image88.emf"/></Relationships>
</file>

<file path=ppt/slides/_rels/slide5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8.emf"/><Relationship Id="rId2" Type="http://schemas.openxmlformats.org/officeDocument/2006/relationships/notesSlide" Target="../notesSlides/notesSlide47.xml"/><Relationship Id="rId1" Type="http://schemas.openxmlformats.org/officeDocument/2006/relationships/slideLayout" Target="../slideLayouts/slideLayout113.xml"/><Relationship Id="rId6" Type="http://schemas.openxmlformats.org/officeDocument/2006/relationships/image" Target="../media/image93.png"/><Relationship Id="rId11" Type="http://schemas.openxmlformats.org/officeDocument/2006/relationships/image" Target="../media/image87.emf"/><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3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38.xml"/></Relationships>
</file>

<file path=ppt/slides/_rels/slide58.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54.xml"/><Relationship Id="rId1" Type="http://schemas.openxmlformats.org/officeDocument/2006/relationships/slideLayout" Target="../slideLayouts/slideLayout238.xml"/></Relationships>
</file>

<file path=ppt/slides/_rels/slide5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15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25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3.xml"/></Relationships>
</file>

<file path=ppt/slides/_rels/slide62.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1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88.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25.xml"/><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David Hansford</a:t>
            </a:r>
          </a:p>
          <a:p>
            <a:r>
              <a:rPr lang="en-US" dirty="0"/>
              <a:t>Technical Architect</a:t>
            </a:r>
          </a:p>
        </p:txBody>
      </p:sp>
      <p:sp>
        <p:nvSpPr>
          <p:cNvPr id="2" name="Title 1"/>
          <p:cNvSpPr>
            <a:spLocks noGrp="1"/>
          </p:cNvSpPr>
          <p:nvPr>
            <p:ph type="ctrTitle"/>
          </p:nvPr>
        </p:nvSpPr>
        <p:spPr>
          <a:solidFill>
            <a:srgbClr val="007233"/>
          </a:solidFill>
        </p:spPr>
        <p:txBody>
          <a:bodyPr/>
          <a:lstStyle/>
          <a:p>
            <a:r>
              <a:rPr lang="en-US" sz="3000"/>
              <a:t>Design for Compute</a:t>
            </a:r>
            <a:endParaRPr lang="en-US" sz="3000" dirty="0"/>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solidFill>
                  <a:srgbClr val="353535"/>
                </a:solidFill>
              </a:rPr>
              <a:t> </a:t>
            </a:r>
            <a:br>
              <a:rPr sz="4300" dirty="0">
                <a:solidFill>
                  <a:srgbClr val="353535"/>
                </a:solidFill>
              </a:rPr>
            </a:br>
            <a:r>
              <a:rPr dirty="0">
                <a:solidFill>
                  <a:srgbClr val="353535"/>
                </a:solidFill>
              </a:rPr>
              <a:t>Azure Container Instances</a:t>
            </a:r>
            <a:endParaRPr sz="5300" dirty="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73397422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007233"/>
          </a:solidFill>
        </p:spPr>
        <p:txBody>
          <a:bodyPr/>
          <a:lstStyle/>
          <a:p>
            <a:r>
              <a:rPr lang="en-US" sz="3000"/>
              <a:t>Design for Compute</a:t>
            </a:r>
            <a:endParaRPr lang="en-US" sz="3000" dirty="0"/>
          </a:p>
        </p:txBody>
      </p:sp>
      <p:sp>
        <p:nvSpPr>
          <p:cNvPr id="5" name="Subtitle 4">
            <a:extLst>
              <a:ext uri="{FF2B5EF4-FFF2-40B4-BE49-F238E27FC236}">
                <a16:creationId xmlns:a16="http://schemas.microsoft.com/office/drawing/2014/main" id="{571C7E61-98A8-49B1-B355-42180A928E1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238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7.xml.rels><?xml version="1.0" encoding="UTF-8" standalone="yes"?>
<Relationships xmlns="http://schemas.openxmlformats.org/package/2006/relationships"><Relationship Id="rId1" Type="http://schemas.openxmlformats.org/officeDocument/2006/relationships/image" Target="../media/image36.png"/></Relationships>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7.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94</TotalTime>
  <Words>6628</Words>
  <Application>Microsoft Office PowerPoint</Application>
  <PresentationFormat>Widescreen</PresentationFormat>
  <Paragraphs>1098</Paragraphs>
  <Slides>63</Slides>
  <Notes>58</Notes>
  <HiddenSlides>5</HiddenSlides>
  <MMClips>0</MMClips>
  <ScaleCrop>false</ScaleCrop>
  <HeadingPairs>
    <vt:vector size="6" baseType="variant">
      <vt:variant>
        <vt:lpstr>Fonts Used</vt:lpstr>
      </vt:variant>
      <vt:variant>
        <vt:i4>16</vt:i4>
      </vt:variant>
      <vt:variant>
        <vt:lpstr>Theme</vt:lpstr>
      </vt:variant>
      <vt:variant>
        <vt:i4>21</vt:i4>
      </vt:variant>
      <vt:variant>
        <vt:lpstr>Slide Titles</vt:lpstr>
      </vt:variant>
      <vt:variant>
        <vt:i4>63</vt:i4>
      </vt:variant>
    </vt:vector>
  </HeadingPairs>
  <TitlesOfParts>
    <vt:vector size="100" baseType="lpstr">
      <vt:lpstr>Arial</vt:lpstr>
      <vt:lpstr>Calibri</vt:lpstr>
      <vt:lpstr>Calibri Light</vt:lpstr>
      <vt:lpstr>Consolas</vt:lpstr>
      <vt:lpstr>Courier New</vt:lpstr>
      <vt:lpstr>MS PGothic</vt:lpstr>
      <vt:lpstr>Segoe Semibold</vt:lpstr>
      <vt:lpstr>Segoe UI</vt:lpstr>
      <vt:lpstr>Segoe UI Black</vt:lpstr>
      <vt:lpstr>Segoe UI Light</vt:lpstr>
      <vt:lpstr>Segoe UI Light (Headings)</vt:lpstr>
      <vt:lpstr>Segoe UI Semibold</vt:lpstr>
      <vt:lpstr>Segoe UI Semilight</vt:lpstr>
      <vt:lpstr>segoe-ui_semibold</vt:lpstr>
      <vt:lpstr>Verdana</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NG_MOC_Core_ModuleNew2</vt:lpstr>
      <vt:lpstr>Design for Compute</vt:lpstr>
      <vt:lpstr>Design Compute Infrastructure (20-25%)</vt:lpstr>
      <vt:lpstr>PowerPoint Presentation</vt:lpstr>
      <vt:lpstr>Azure Resource Manager (ARM) </vt:lpstr>
      <vt:lpstr>ARM Templates</vt:lpstr>
      <vt:lpstr>PowerPoint Presentation</vt:lpstr>
      <vt:lpstr>PowerPoint Presentation</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lpstr>Jumpstart Your Journey to the Azure Cloud</vt:lpstr>
      <vt:lpstr>Design for Compu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David Hansford</cp:lastModifiedBy>
  <cp:revision>221</cp:revision>
  <dcterms:created xsi:type="dcterms:W3CDTF">2017-06-01T19:54:22Z</dcterms:created>
  <dcterms:modified xsi:type="dcterms:W3CDTF">2018-06-22T14:3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